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1FAA1B-E676-4576-96A7-FAA22E92E3AC}" v="25" dt="2024-03-11T03:04:00.0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05" d="100"/>
          <a:sy n="105" d="100"/>
        </p:scale>
        <p:origin x="171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microsoft.com/office/2016/11/relationships/changesInfo" Target="changesInfos/changesInfo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briela Fernandez" userId="9a2f7a990ae12e69" providerId="LiveId" clId="{571FAA1B-E676-4576-96A7-FAA22E92E3AC}"/>
    <pc:docChg chg="undo custSel modSld">
      <pc:chgData name="Gabriela Fernandez" userId="9a2f7a990ae12e69" providerId="LiveId" clId="{571FAA1B-E676-4576-96A7-FAA22E92E3AC}" dt="2024-03-11T03:04:00.082" v="210" actId="207"/>
      <pc:docMkLst>
        <pc:docMk/>
      </pc:docMkLst>
      <pc:sldChg chg="addSp delSp modSp mod">
        <pc:chgData name="Gabriela Fernandez" userId="9a2f7a990ae12e69" providerId="LiveId" clId="{571FAA1B-E676-4576-96A7-FAA22E92E3AC}" dt="2024-03-11T02:30:02.248" v="161" actId="1076"/>
        <pc:sldMkLst>
          <pc:docMk/>
          <pc:sldMk cId="2844286603" sldId="392"/>
        </pc:sldMkLst>
        <pc:spChg chg="mod">
          <ac:chgData name="Gabriela Fernandez" userId="9a2f7a990ae12e69" providerId="LiveId" clId="{571FAA1B-E676-4576-96A7-FAA22E92E3AC}" dt="2024-03-11T02:29:10.530" v="155" actId="20577"/>
          <ac:spMkLst>
            <pc:docMk/>
            <pc:sldMk cId="2844286603" sldId="392"/>
            <ac:spMk id="2" creationId="{F0E37C96-13BD-4F0C-B379-77591A183D9B}"/>
          </ac:spMkLst>
        </pc:spChg>
        <pc:spChg chg="del">
          <ac:chgData name="Gabriela Fernandez" userId="9a2f7a990ae12e69" providerId="LiveId" clId="{571FAA1B-E676-4576-96A7-FAA22E92E3AC}" dt="2024-03-11T02:27:12.282" v="118" actId="478"/>
          <ac:spMkLst>
            <pc:docMk/>
            <pc:sldMk cId="2844286603" sldId="392"/>
            <ac:spMk id="9" creationId="{0FB55E80-72B6-4994-8552-223A758DA182}"/>
          </ac:spMkLst>
        </pc:spChg>
        <pc:graphicFrameChg chg="add mod">
          <ac:chgData name="Gabriela Fernandez" userId="9a2f7a990ae12e69" providerId="LiveId" clId="{571FAA1B-E676-4576-96A7-FAA22E92E3AC}" dt="2024-03-11T02:29:37.848" v="156" actId="207"/>
          <ac:graphicFrameMkLst>
            <pc:docMk/>
            <pc:sldMk cId="2844286603" sldId="392"/>
            <ac:graphicFrameMk id="3" creationId="{A8793CCD-0E32-B4AA-EB51-DB956D4502E6}"/>
          </ac:graphicFrameMkLst>
        </pc:graphicFrameChg>
        <pc:graphicFrameChg chg="add mod">
          <ac:chgData name="Gabriela Fernandez" userId="9a2f7a990ae12e69" providerId="LiveId" clId="{571FAA1B-E676-4576-96A7-FAA22E92E3AC}" dt="2024-03-11T02:30:02.248" v="161" actId="1076"/>
          <ac:graphicFrameMkLst>
            <pc:docMk/>
            <pc:sldMk cId="2844286603" sldId="392"/>
            <ac:graphicFrameMk id="4" creationId="{EF42DBEA-6FA6-4C85-B562-DBB261E37D54}"/>
          </ac:graphicFrameMkLst>
        </pc:graphicFrameChg>
        <pc:graphicFrameChg chg="add mod">
          <ac:chgData name="Gabriela Fernandez" userId="9a2f7a990ae12e69" providerId="LiveId" clId="{571FAA1B-E676-4576-96A7-FAA22E92E3AC}" dt="2024-03-11T02:29:54.218" v="160" actId="14100"/>
          <ac:graphicFrameMkLst>
            <pc:docMk/>
            <pc:sldMk cId="2844286603" sldId="392"/>
            <ac:graphicFrameMk id="5" creationId="{82047787-DA9C-4F94-B703-82844FC5EB0B}"/>
          </ac:graphicFrameMkLst>
        </pc:graphicFrameChg>
      </pc:sldChg>
      <pc:sldChg chg="addSp delSp modSp mod">
        <pc:chgData name="Gabriela Fernandez" userId="9a2f7a990ae12e69" providerId="LiveId" clId="{571FAA1B-E676-4576-96A7-FAA22E92E3AC}" dt="2024-03-11T02:07:18.238" v="66" actId="14100"/>
        <pc:sldMkLst>
          <pc:docMk/>
          <pc:sldMk cId="2748477053" sldId="397"/>
        </pc:sldMkLst>
        <pc:spChg chg="mod">
          <ac:chgData name="Gabriela Fernandez" userId="9a2f7a990ae12e69" providerId="LiveId" clId="{571FAA1B-E676-4576-96A7-FAA22E92E3AC}" dt="2024-03-11T01:57:19.042" v="30" actId="20577"/>
          <ac:spMkLst>
            <pc:docMk/>
            <pc:sldMk cId="2748477053" sldId="397"/>
            <ac:spMk id="2" creationId="{F0E37C96-13BD-4F0C-B379-77591A183D9B}"/>
          </ac:spMkLst>
        </pc:spChg>
        <pc:spChg chg="add del mod">
          <ac:chgData name="Gabriela Fernandez" userId="9a2f7a990ae12e69" providerId="LiveId" clId="{571FAA1B-E676-4576-96A7-FAA22E92E3AC}" dt="2024-03-11T02:07:06.233" v="59" actId="478"/>
          <ac:spMkLst>
            <pc:docMk/>
            <pc:sldMk cId="2748477053" sldId="397"/>
            <ac:spMk id="12" creationId="{98D41DE5-8C4C-43CA-9432-43E7654D7C5A}"/>
          </ac:spMkLst>
        </pc:spChg>
        <pc:graphicFrameChg chg="add del mod">
          <ac:chgData name="Gabriela Fernandez" userId="9a2f7a990ae12e69" providerId="LiveId" clId="{571FAA1B-E676-4576-96A7-FAA22E92E3AC}" dt="2024-03-11T02:02:57.853" v="38" actId="478"/>
          <ac:graphicFrameMkLst>
            <pc:docMk/>
            <pc:sldMk cId="2748477053" sldId="397"/>
            <ac:graphicFrameMk id="3" creationId="{D89FB0AC-091B-B1F2-134F-B7C52B747269}"/>
          </ac:graphicFrameMkLst>
        </pc:graphicFrameChg>
        <pc:graphicFrameChg chg="add del mod">
          <ac:chgData name="Gabriela Fernandez" userId="9a2f7a990ae12e69" providerId="LiveId" clId="{571FAA1B-E676-4576-96A7-FAA22E92E3AC}" dt="2024-03-11T02:05:35.536" v="47" actId="478"/>
          <ac:graphicFrameMkLst>
            <pc:docMk/>
            <pc:sldMk cId="2748477053" sldId="397"/>
            <ac:graphicFrameMk id="4" creationId="{D89FB0AC-091B-B1F2-134F-B7C52B747269}"/>
          </ac:graphicFrameMkLst>
        </pc:graphicFrameChg>
        <pc:graphicFrameChg chg="add mod">
          <ac:chgData name="Gabriela Fernandez" userId="9a2f7a990ae12e69" providerId="LiveId" clId="{571FAA1B-E676-4576-96A7-FAA22E92E3AC}" dt="2024-03-11T02:05:53.743" v="52" actId="1076"/>
          <ac:graphicFrameMkLst>
            <pc:docMk/>
            <pc:sldMk cId="2748477053" sldId="397"/>
            <ac:graphicFrameMk id="5" creationId="{D89FB0AC-091B-B1F2-134F-B7C52B747269}"/>
          </ac:graphicFrameMkLst>
        </pc:graphicFrameChg>
        <pc:graphicFrameChg chg="add mod">
          <ac:chgData name="Gabriela Fernandez" userId="9a2f7a990ae12e69" providerId="LiveId" clId="{571FAA1B-E676-4576-96A7-FAA22E92E3AC}" dt="2024-03-11T02:07:18.238" v="66" actId="14100"/>
          <ac:graphicFrameMkLst>
            <pc:docMk/>
            <pc:sldMk cId="2748477053" sldId="397"/>
            <ac:graphicFrameMk id="6" creationId="{6CED6311-46AF-7DA2-2BC1-8AC28A361CF0}"/>
          </ac:graphicFrameMkLst>
        </pc:graphicFrameChg>
        <pc:graphicFrameChg chg="del mod">
          <ac:chgData name="Gabriela Fernandez" userId="9a2f7a990ae12e69" providerId="LiveId" clId="{571FAA1B-E676-4576-96A7-FAA22E92E3AC}" dt="2024-03-11T02:06:01.669" v="58" actId="478"/>
          <ac:graphicFrameMkLst>
            <pc:docMk/>
            <pc:sldMk cId="2748477053" sldId="397"/>
            <ac:graphicFrameMk id="11" creationId="{EC19C994-9521-4621-BDD8-A81FFDF8F338}"/>
          </ac:graphicFrameMkLst>
        </pc:graphicFrameChg>
      </pc:sldChg>
      <pc:sldChg chg="addSp delSp modSp mod">
        <pc:chgData name="Gabriela Fernandez" userId="9a2f7a990ae12e69" providerId="LiveId" clId="{571FAA1B-E676-4576-96A7-FAA22E92E3AC}" dt="2024-03-11T02:20:39.377" v="117" actId="1076"/>
        <pc:sldMkLst>
          <pc:docMk/>
          <pc:sldMk cId="667657664" sldId="399"/>
        </pc:sldMkLst>
        <pc:spChg chg="mod">
          <ac:chgData name="Gabriela Fernandez" userId="9a2f7a990ae12e69" providerId="LiveId" clId="{571FAA1B-E676-4576-96A7-FAA22E92E3AC}" dt="2024-03-11T02:09:51.247" v="101" actId="20577"/>
          <ac:spMkLst>
            <pc:docMk/>
            <pc:sldMk cId="667657664" sldId="399"/>
            <ac:spMk id="2" creationId="{F0E37C96-13BD-4F0C-B379-77591A183D9B}"/>
          </ac:spMkLst>
        </pc:spChg>
        <pc:spChg chg="del mod">
          <ac:chgData name="Gabriela Fernandez" userId="9a2f7a990ae12e69" providerId="LiveId" clId="{571FAA1B-E676-4576-96A7-FAA22E92E3AC}" dt="2024-03-11T02:20:28.708" v="112" actId="478"/>
          <ac:spMkLst>
            <pc:docMk/>
            <pc:sldMk cId="667657664" sldId="399"/>
            <ac:spMk id="21" creationId="{45136C0F-6251-49D7-A7E6-166D4D8B5A9E}"/>
          </ac:spMkLst>
        </pc:spChg>
        <pc:graphicFrameChg chg="add mod">
          <ac:chgData name="Gabriela Fernandez" userId="9a2f7a990ae12e69" providerId="LiveId" clId="{571FAA1B-E676-4576-96A7-FAA22E92E3AC}" dt="2024-03-11T02:18:02.327" v="110" actId="1076"/>
          <ac:graphicFrameMkLst>
            <pc:docMk/>
            <pc:sldMk cId="667657664" sldId="399"/>
            <ac:graphicFrameMk id="3" creationId="{ED1EED45-051E-5215-55A6-29234CC68588}"/>
          </ac:graphicFrameMkLst>
        </pc:graphicFrameChg>
        <pc:graphicFrameChg chg="add mod">
          <ac:chgData name="Gabriela Fernandez" userId="9a2f7a990ae12e69" providerId="LiveId" clId="{571FAA1B-E676-4576-96A7-FAA22E92E3AC}" dt="2024-03-11T02:20:39.377" v="117" actId="1076"/>
          <ac:graphicFrameMkLst>
            <pc:docMk/>
            <pc:sldMk cId="667657664" sldId="399"/>
            <ac:graphicFrameMk id="4" creationId="{B03C61CC-7EE1-4A49-8C56-C77D0D3E7D44}"/>
          </ac:graphicFrameMkLst>
        </pc:graphicFrameChg>
        <pc:graphicFrameChg chg="del">
          <ac:chgData name="Gabriela Fernandez" userId="9a2f7a990ae12e69" providerId="LiveId" clId="{571FAA1B-E676-4576-96A7-FAA22E92E3AC}" dt="2024-03-11T02:17:18.065" v="102" actId="478"/>
          <ac:graphicFrameMkLst>
            <pc:docMk/>
            <pc:sldMk cId="667657664" sldId="399"/>
            <ac:graphicFrameMk id="20" creationId="{9374B13C-CC83-4511-A430-D203A541664D}"/>
          </ac:graphicFrameMkLst>
        </pc:graphicFrameChg>
      </pc:sldChg>
      <pc:sldChg chg="addSp delSp modSp mod">
        <pc:chgData name="Gabriela Fernandez" userId="9a2f7a990ae12e69" providerId="LiveId" clId="{571FAA1B-E676-4576-96A7-FAA22E92E3AC}" dt="2024-03-11T03:04:00.082" v="210" actId="207"/>
        <pc:sldMkLst>
          <pc:docMk/>
          <pc:sldMk cId="534358597" sldId="400"/>
        </pc:sldMkLst>
        <pc:spChg chg="mod">
          <ac:chgData name="Gabriela Fernandez" userId="9a2f7a990ae12e69" providerId="LiveId" clId="{571FAA1B-E676-4576-96A7-FAA22E92E3AC}" dt="2024-03-11T02:50:13.326" v="182" actId="20577"/>
          <ac:spMkLst>
            <pc:docMk/>
            <pc:sldMk cId="534358597" sldId="400"/>
            <ac:spMk id="2" creationId="{F0E37C96-13BD-4F0C-B379-77591A183D9B}"/>
          </ac:spMkLst>
        </pc:spChg>
        <pc:spChg chg="add del">
          <ac:chgData name="Gabriela Fernandez" userId="9a2f7a990ae12e69" providerId="LiveId" clId="{571FAA1B-E676-4576-96A7-FAA22E92E3AC}" dt="2024-03-11T02:55:19.362" v="185" actId="478"/>
          <ac:spMkLst>
            <pc:docMk/>
            <pc:sldMk cId="534358597" sldId="400"/>
            <ac:spMk id="12" creationId="{3E2A6C54-03E1-4BB5-8A12-2A2E4DFCFAB7}"/>
          </ac:spMkLst>
        </pc:spChg>
        <pc:graphicFrameChg chg="add mod">
          <ac:chgData name="Gabriela Fernandez" userId="9a2f7a990ae12e69" providerId="LiveId" clId="{571FAA1B-E676-4576-96A7-FAA22E92E3AC}" dt="2024-03-11T03:03:49.730" v="208" actId="207"/>
          <ac:graphicFrameMkLst>
            <pc:docMk/>
            <pc:sldMk cId="534358597" sldId="400"/>
            <ac:graphicFrameMk id="3" creationId="{7793EC2A-0FD7-4A4C-9592-4FFBC33F0A65}"/>
          </ac:graphicFrameMkLst>
        </pc:graphicFrameChg>
        <pc:graphicFrameChg chg="add mod">
          <ac:chgData name="Gabriela Fernandez" userId="9a2f7a990ae12e69" providerId="LiveId" clId="{571FAA1B-E676-4576-96A7-FAA22E92E3AC}" dt="2024-03-11T03:03:55.765" v="209" actId="207"/>
          <ac:graphicFrameMkLst>
            <pc:docMk/>
            <pc:sldMk cId="534358597" sldId="400"/>
            <ac:graphicFrameMk id="4" creationId="{3378CF51-9E7B-4C6F-9015-10BFF6B42C7C}"/>
          </ac:graphicFrameMkLst>
        </pc:graphicFrameChg>
        <pc:graphicFrameChg chg="add mod">
          <ac:chgData name="Gabriela Fernandez" userId="9a2f7a990ae12e69" providerId="LiveId" clId="{571FAA1B-E676-4576-96A7-FAA22E92E3AC}" dt="2024-03-11T03:04:00.082" v="210" actId="207"/>
          <ac:graphicFrameMkLst>
            <pc:docMk/>
            <pc:sldMk cId="534358597" sldId="400"/>
            <ac:graphicFrameMk id="5" creationId="{4D1A2507-1D94-4ECB-9DCF-F1D3AC6F5555}"/>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9a2f7a990ae12e69/Unit%208/Southern%20Water%20Corp%20Economics%20Case%20Study%20MCU%20Student%20Facing%2022082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a:t>Average Water Balancing Market</a:t>
            </a:r>
            <a:r>
              <a:rPr lang="en-US" sz="1200" baseline="0"/>
              <a:t> Price vs Market Demand</a:t>
            </a:r>
            <a:endParaRPr lang="en-US" sz="12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v>Avergae Water Balancing Market Price</c:v>
          </c:tx>
          <c:spPr>
            <a:solidFill>
              <a:schemeClr val="accent2"/>
            </a:solidFill>
            <a:ln>
              <a:noFill/>
            </a:ln>
            <a:effectLst/>
          </c:spPr>
          <c:invertIfNegative val="0"/>
          <c:val>
            <c:numRef>
              <c:f>'[Southern Water Corp Economics Case Study MCU Student Facing 220822.xlsx]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DEC2-4AE8-A653-4F31FA9D40E0}"/>
            </c:ext>
          </c:extLst>
        </c:ser>
        <c:dLbls>
          <c:showLegendKey val="0"/>
          <c:showVal val="0"/>
          <c:showCatName val="0"/>
          <c:showSerName val="0"/>
          <c:showPercent val="0"/>
          <c:showBubbleSize val="0"/>
        </c:dLbls>
        <c:gapWidth val="219"/>
        <c:axId val="558746416"/>
        <c:axId val="558734416"/>
      </c:barChart>
      <c:lineChart>
        <c:grouping val="standard"/>
        <c:varyColors val="0"/>
        <c:ser>
          <c:idx val="0"/>
          <c:order val="0"/>
          <c:tx>
            <c:v>Average Water Balancing Market Price</c:v>
          </c:tx>
          <c:spPr>
            <a:ln w="28575" cap="rnd">
              <a:solidFill>
                <a:schemeClr val="accent1"/>
              </a:solidFill>
              <a:prstDash val="dash"/>
              <a:round/>
            </a:ln>
            <a:effectLst/>
          </c:spPr>
          <c:marker>
            <c:symbol val="none"/>
          </c:marker>
          <c:cat>
            <c:numRef>
              <c:f>'[Southern Water Corp Economics Case Study MCU Student Facing 220822.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outhern Water Corp Economics Case Study MCU Student Facing 220822.xlsx]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DEC2-4AE8-A653-4F31FA9D40E0}"/>
            </c:ext>
          </c:extLst>
        </c:ser>
        <c:dLbls>
          <c:showLegendKey val="0"/>
          <c:showVal val="0"/>
          <c:showCatName val="0"/>
          <c:showSerName val="0"/>
          <c:showPercent val="0"/>
          <c:showBubbleSize val="0"/>
        </c:dLbls>
        <c:marker val="1"/>
        <c:smooth val="0"/>
        <c:axId val="558717136"/>
        <c:axId val="558725296"/>
      </c:lineChart>
      <c:dateAx>
        <c:axId val="55871713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725296"/>
        <c:crosses val="autoZero"/>
        <c:auto val="1"/>
        <c:lblOffset val="100"/>
        <c:baseTimeUnit val="months"/>
      </c:dateAx>
      <c:valAx>
        <c:axId val="5587252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717136"/>
        <c:crosses val="autoZero"/>
        <c:crossBetween val="between"/>
      </c:valAx>
      <c:valAx>
        <c:axId val="558734416"/>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746416"/>
        <c:crosses val="max"/>
        <c:crossBetween val="between"/>
      </c:valAx>
      <c:catAx>
        <c:axId val="558746416"/>
        <c:scaling>
          <c:orientation val="minMax"/>
        </c:scaling>
        <c:delete val="1"/>
        <c:axPos val="b"/>
        <c:majorTickMark val="out"/>
        <c:minorTickMark val="none"/>
        <c:tickLblPos val="nextTo"/>
        <c:crossAx val="55873441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a:t>Weighted Balancing Market Price vs Volume of Water Demanded (</a:t>
            </a:r>
            <a:r>
              <a:rPr lang="en-US" b="1" baseline="0"/>
              <a:t>Hard + Soft</a:t>
            </a:r>
            <a:r>
              <a:rPr lang="en-US" baseline="0"/>
              <a:t>)</a:t>
            </a:r>
            <a:endParaRPr lang="en-US"/>
          </a:p>
        </c:rich>
      </c:tx>
      <c:layout>
        <c:manualLayout>
          <c:xMode val="edge"/>
          <c:yMode val="edge"/>
          <c:x val="8.7942233396109806E-2"/>
          <c:y val="3.240732176299486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220822.xlsx]Economic Market Analysis'!$B$16</c:f>
              <c:strCache>
                <c:ptCount val="1"/>
                <c:pt idx="0">
                  <c:v>Avg. Quantity of Soft + Hard Water</c:v>
                </c:pt>
              </c:strCache>
            </c:strRef>
          </c:tx>
          <c:spPr>
            <a:ln w="25400" cap="rnd">
              <a:noFill/>
              <a:round/>
            </a:ln>
            <a:effectLst/>
          </c:spPr>
          <c:marker>
            <c:symbol val="circle"/>
            <c:size val="5"/>
            <c:spPr>
              <a:solidFill>
                <a:schemeClr val="accent2">
                  <a:lumMod val="50000"/>
                </a:schemeClr>
              </a:solidFill>
              <a:ln w="9525">
                <a:solidFill>
                  <a:schemeClr val="accent1"/>
                </a:solidFill>
              </a:ln>
              <a:effectLst/>
            </c:spPr>
          </c:marker>
          <c:xVal>
            <c:numRef>
              <c:f>'[Southern Water Corp Economics Case Study MCU Student Facing 220822.xlsx]Economic Market Analysis'!$C$16:$N$16</c:f>
              <c:numCache>
                <c:formatCode>General</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xVal>
          <c:yVal>
            <c:numRef>
              <c:f>'[Southern Water Corp Economics Case Study MCU Student Facing 220822.xlsx]Economic Market Analysis'!$C$15:$N$15</c:f>
              <c:numCache>
                <c:formatCode>General</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yVal>
          <c:smooth val="0"/>
          <c:extLst>
            <c:ext xmlns:c16="http://schemas.microsoft.com/office/drawing/2014/chart" uri="{C3380CC4-5D6E-409C-BE32-E72D297353CC}">
              <c16:uniqueId val="{00000000-7EEB-428E-BA92-2C2EA5175E90}"/>
            </c:ext>
          </c:extLst>
        </c:ser>
        <c:dLbls>
          <c:showLegendKey val="0"/>
          <c:showVal val="0"/>
          <c:showCatName val="0"/>
          <c:showSerName val="0"/>
          <c:showPercent val="0"/>
          <c:showBubbleSize val="0"/>
        </c:dLbls>
        <c:axId val="1538633312"/>
        <c:axId val="1597919920"/>
      </c:scatterChart>
      <c:valAx>
        <c:axId val="1538633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7919920"/>
        <c:crosses val="autoZero"/>
        <c:crossBetween val="midCat"/>
      </c:valAx>
      <c:valAx>
        <c:axId val="15979199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86333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verall</a:t>
            </a:r>
            <a:r>
              <a:rPr lang="en-US" baseline="0"/>
              <a:t> Revenues Considering Quater Shutdown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3"/>
            <c:invertIfNegative val="0"/>
            <c:bubble3D val="0"/>
            <c:spPr>
              <a:solidFill>
                <a:schemeClr val="accent1">
                  <a:lumMod val="50000"/>
                </a:schemeClr>
              </a:solidFill>
              <a:ln>
                <a:solidFill>
                  <a:schemeClr val="tx2"/>
                </a:solidFill>
              </a:ln>
              <a:effectLst/>
            </c:spPr>
            <c:extLst>
              <c:ext xmlns:c16="http://schemas.microsoft.com/office/drawing/2014/chart" uri="{C3380CC4-5D6E-409C-BE32-E72D297353CC}">
                <c16:uniqueId val="{00000001-8DB5-4382-8196-4C2958A3FF16}"/>
              </c:ext>
            </c:extLst>
          </c:dPt>
          <c:cat>
            <c:strRef>
              <c:f>'[Southern Water Corp Economics Case Study MCU Student Facing 220822.xlsx]What-If Analysis'!$D$62:$D$65</c:f>
              <c:strCache>
                <c:ptCount val="4"/>
                <c:pt idx="0">
                  <c:v>Q1</c:v>
                </c:pt>
                <c:pt idx="1">
                  <c:v>Q2</c:v>
                </c:pt>
                <c:pt idx="2">
                  <c:v>Q3</c:v>
                </c:pt>
                <c:pt idx="3">
                  <c:v>Q4</c:v>
                </c:pt>
              </c:strCache>
            </c:strRef>
          </c:cat>
          <c:val>
            <c:numRef>
              <c:f>'[Southern Water Corp Economics Case Study MCU Student Facing 220822.xlsx]What-If Analysis'!$Q$62:$Q$65</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2-8DB5-4382-8196-4C2958A3FF16}"/>
            </c:ext>
          </c:extLst>
        </c:ser>
        <c:dLbls>
          <c:showLegendKey val="0"/>
          <c:showVal val="0"/>
          <c:showCatName val="0"/>
          <c:showSerName val="0"/>
          <c:showPercent val="0"/>
          <c:showBubbleSize val="0"/>
        </c:dLbls>
        <c:gapWidth val="219"/>
        <c:overlap val="-27"/>
        <c:axId val="931879600"/>
        <c:axId val="931871920"/>
      </c:barChart>
      <c:catAx>
        <c:axId val="931879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1871920"/>
        <c:crosses val="autoZero"/>
        <c:auto val="1"/>
        <c:lblAlgn val="ctr"/>
        <c:lblOffset val="100"/>
        <c:noMultiLvlLbl val="0"/>
      </c:catAx>
      <c:valAx>
        <c:axId val="93187192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1879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verall</a:t>
            </a:r>
            <a:r>
              <a:rPr lang="en-US" baseline="0"/>
              <a:t> CTP vs Kootha CTP, Surjek CTP, Jutik CTP</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Overall</c:v>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outhern Water Corp Economics Case Study MCU Student Facing 220822.xlsx]Economic Cost Analysis'!$G$51:$R$52</c:f>
              <c:strCache>
                <c:ptCount val="12"/>
                <c:pt idx="0">
                  <c:v>Jul-13</c:v>
                </c:pt>
                <c:pt idx="1">
                  <c:v>Aug-13</c:v>
                </c:pt>
                <c:pt idx="2">
                  <c:v>Sep-13</c:v>
                </c:pt>
                <c:pt idx="3">
                  <c:v>Oct-13</c:v>
                </c:pt>
                <c:pt idx="4">
                  <c:v>Nov-13</c:v>
                </c:pt>
                <c:pt idx="5">
                  <c:v>Dec-13</c:v>
                </c:pt>
                <c:pt idx="6">
                  <c:v>Jan-14</c:v>
                </c:pt>
                <c:pt idx="7">
                  <c:v>Feb-14</c:v>
                </c:pt>
                <c:pt idx="8">
                  <c:v>Mar-14</c:v>
                </c:pt>
                <c:pt idx="9">
                  <c:v>Apr-14</c:v>
                </c:pt>
                <c:pt idx="10">
                  <c:v>May-14</c:v>
                </c:pt>
                <c:pt idx="11">
                  <c:v>Jun-14</c:v>
                </c:pt>
              </c:strCache>
            </c:strRef>
          </c:cat>
          <c:val>
            <c:numRef>
              <c:f>'[Southern Water Corp Economics Case Study MCU Student Facing 220822.xlsx]Economic Cost Analysis'!$G$61:$R$61</c:f>
              <c:numCache>
                <c:formatCode>"$"#,##0.00;[Red]\-"$"#,##0.00</c:formatCode>
                <c:ptCount val="12"/>
                <c:pt idx="0">
                  <c:v>647.14428099999998</c:v>
                </c:pt>
                <c:pt idx="1">
                  <c:v>622.38369699999998</c:v>
                </c:pt>
                <c:pt idx="2">
                  <c:v>602.54558499999996</c:v>
                </c:pt>
                <c:pt idx="3">
                  <c:v>602.67093499999999</c:v>
                </c:pt>
                <c:pt idx="4">
                  <c:v>534.23997600000007</c:v>
                </c:pt>
                <c:pt idx="5">
                  <c:v>571.87367900000004</c:v>
                </c:pt>
                <c:pt idx="6">
                  <c:v>679.26448500000004</c:v>
                </c:pt>
                <c:pt idx="7">
                  <c:v>682.90148799999997</c:v>
                </c:pt>
                <c:pt idx="8">
                  <c:v>790.03688200000011</c:v>
                </c:pt>
                <c:pt idx="9">
                  <c:v>759.48916599999995</c:v>
                </c:pt>
                <c:pt idx="10">
                  <c:v>773.51636800000006</c:v>
                </c:pt>
                <c:pt idx="11">
                  <c:v>623.20135099999993</c:v>
                </c:pt>
              </c:numCache>
            </c:numRef>
          </c:val>
          <c:smooth val="0"/>
          <c:extLst>
            <c:ext xmlns:c16="http://schemas.microsoft.com/office/drawing/2014/chart" uri="{C3380CC4-5D6E-409C-BE32-E72D297353CC}">
              <c16:uniqueId val="{00000000-C752-404F-BAF3-B7CFB88063D7}"/>
            </c:ext>
          </c:extLst>
        </c:ser>
        <c:ser>
          <c:idx val="1"/>
          <c:order val="1"/>
          <c:tx>
            <c:v>Jutik</c:v>
          </c:tx>
          <c:spPr>
            <a:ln w="28575" cap="rnd">
              <a:solidFill>
                <a:schemeClr val="accent2"/>
              </a:solidFill>
              <a:round/>
            </a:ln>
            <a:effectLst/>
          </c:spPr>
          <c:marker>
            <c:symbol val="circle"/>
            <c:size val="5"/>
            <c:spPr>
              <a:solidFill>
                <a:schemeClr val="accent2"/>
              </a:solidFill>
              <a:ln w="9525">
                <a:solidFill>
                  <a:schemeClr val="accent2"/>
                </a:solidFill>
              </a:ln>
              <a:effectLst/>
            </c:spPr>
          </c:marker>
          <c:val>
            <c:numRef>
              <c:f>'[Southern Water Corp Economics Case Study MCU Student Facing 220822.xlsx]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val>
          <c:smooth val="0"/>
          <c:extLst>
            <c:ext xmlns:c16="http://schemas.microsoft.com/office/drawing/2014/chart" uri="{C3380CC4-5D6E-409C-BE32-E72D297353CC}">
              <c16:uniqueId val="{00000001-C752-404F-BAF3-B7CFB88063D7}"/>
            </c:ext>
          </c:extLst>
        </c:ser>
        <c:ser>
          <c:idx val="2"/>
          <c:order val="2"/>
          <c:tx>
            <c:v>Surjek</c:v>
          </c:tx>
          <c:spPr>
            <a:ln w="28575" cap="rnd">
              <a:solidFill>
                <a:schemeClr val="accent3"/>
              </a:solidFill>
              <a:round/>
            </a:ln>
            <a:effectLst/>
          </c:spPr>
          <c:marker>
            <c:symbol val="circle"/>
            <c:size val="5"/>
            <c:spPr>
              <a:solidFill>
                <a:schemeClr val="accent3"/>
              </a:solidFill>
              <a:ln w="9525">
                <a:solidFill>
                  <a:schemeClr val="accent3"/>
                </a:solidFill>
              </a:ln>
              <a:effectLst/>
            </c:spPr>
          </c:marker>
          <c:val>
            <c:numRef>
              <c:f>'[Southern Water Corp Economics Case Study MCU Student Facing 220822.xlsx]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val>
          <c:smooth val="0"/>
          <c:extLst>
            <c:ext xmlns:c16="http://schemas.microsoft.com/office/drawing/2014/chart" uri="{C3380CC4-5D6E-409C-BE32-E72D297353CC}">
              <c16:uniqueId val="{00000002-C752-404F-BAF3-B7CFB88063D7}"/>
            </c:ext>
          </c:extLst>
        </c:ser>
        <c:ser>
          <c:idx val="3"/>
          <c:order val="3"/>
          <c:tx>
            <c:v>Kootha</c:v>
          </c:tx>
          <c:spPr>
            <a:ln w="28575" cap="rnd">
              <a:solidFill>
                <a:schemeClr val="accent4"/>
              </a:solidFill>
              <a:round/>
            </a:ln>
            <a:effectLst/>
          </c:spPr>
          <c:marker>
            <c:symbol val="circle"/>
            <c:size val="5"/>
            <c:spPr>
              <a:solidFill>
                <a:schemeClr val="accent4"/>
              </a:solidFill>
              <a:ln w="9525">
                <a:solidFill>
                  <a:schemeClr val="accent4"/>
                </a:solidFill>
              </a:ln>
              <a:effectLst/>
            </c:spPr>
          </c:marker>
          <c:val>
            <c:numRef>
              <c:f>'[Southern Water Corp Economics Case Study MCU Student Facing 220822.xlsx]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val>
          <c:smooth val="0"/>
          <c:extLst>
            <c:ext xmlns:c16="http://schemas.microsoft.com/office/drawing/2014/chart" uri="{C3380CC4-5D6E-409C-BE32-E72D297353CC}">
              <c16:uniqueId val="{00000003-C752-404F-BAF3-B7CFB88063D7}"/>
            </c:ext>
          </c:extLst>
        </c:ser>
        <c:dLbls>
          <c:showLegendKey val="0"/>
          <c:showVal val="0"/>
          <c:showCatName val="0"/>
          <c:showSerName val="0"/>
          <c:showPercent val="0"/>
          <c:showBubbleSize val="0"/>
        </c:dLbls>
        <c:marker val="1"/>
        <c:smooth val="0"/>
        <c:axId val="185993488"/>
        <c:axId val="185564352"/>
      </c:lineChart>
      <c:catAx>
        <c:axId val="185993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564352"/>
        <c:crosses val="autoZero"/>
        <c:auto val="1"/>
        <c:lblAlgn val="ctr"/>
        <c:lblOffset val="100"/>
        <c:noMultiLvlLbl val="0"/>
      </c:catAx>
      <c:valAx>
        <c:axId val="18556435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99348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Unit Cost to Produce vs Average</a:t>
            </a:r>
            <a:r>
              <a:rPr lang="en-US" baseline="0"/>
              <a:t> Cost to Produc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Overall Desalination Cost to Produce ($/ML)</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ern Water Corp Economics Case Study MCU Student Facing 220822.xlsx]Economic Cost Analysis'!$A$232:$A$234</c:f>
              <c:strCache>
                <c:ptCount val="3"/>
                <c:pt idx="0">
                  <c:v>Kootha</c:v>
                </c:pt>
                <c:pt idx="1">
                  <c:v>Surjek</c:v>
                </c:pt>
                <c:pt idx="2">
                  <c:v>Jutik</c:v>
                </c:pt>
              </c:strCache>
            </c:strRef>
          </c:cat>
          <c:val>
            <c:numRef>
              <c:f>'[Southern Water Corp Economics Case Study MCU Student Facing 220822.xlsx]Economic Cost Analysis'!$B$232:$B$234</c:f>
              <c:numCache>
                <c:formatCode>"$"#,##0.00;[Red]\-"$"#,##0.00</c:formatCode>
                <c:ptCount val="3"/>
                <c:pt idx="0" formatCode="&quot;$&quot;#,##0.00;[Red]\-&quot;$&quot;#,##0.00\ &quot;$/ML&quot;">
                  <c:v>25.001374005209883</c:v>
                </c:pt>
                <c:pt idx="1">
                  <c:v>54.231506516209798</c:v>
                </c:pt>
                <c:pt idx="2">
                  <c:v>35.80418919825496</c:v>
                </c:pt>
              </c:numCache>
            </c:numRef>
          </c:val>
          <c:extLst>
            <c:ext xmlns:c16="http://schemas.microsoft.com/office/drawing/2014/chart" uri="{C3380CC4-5D6E-409C-BE32-E72D297353CC}">
              <c16:uniqueId val="{00000000-F9C8-41A1-92F5-069CBD40AF99}"/>
            </c:ext>
          </c:extLst>
        </c:ser>
        <c:dLbls>
          <c:showLegendKey val="0"/>
          <c:showVal val="1"/>
          <c:showCatName val="0"/>
          <c:showSerName val="0"/>
          <c:showPercent val="0"/>
          <c:showBubbleSize val="0"/>
        </c:dLbls>
        <c:gapWidth val="219"/>
        <c:overlap val="-27"/>
        <c:axId val="185991568"/>
        <c:axId val="1148023552"/>
      </c:barChart>
      <c:lineChart>
        <c:grouping val="standard"/>
        <c:varyColors val="0"/>
        <c:ser>
          <c:idx val="1"/>
          <c:order val="1"/>
          <c:tx>
            <c:v>Average Overall Desalination Cost to Produce ($/ML)</c:v>
          </c:tx>
          <c:spPr>
            <a:ln w="28575" cap="rnd">
              <a:solidFill>
                <a:schemeClr val="accent2"/>
              </a:solidFill>
              <a:round/>
            </a:ln>
            <a:effectLst/>
          </c:spPr>
          <c:marker>
            <c:symbol val="none"/>
          </c:marker>
          <c:dLbls>
            <c:delete val="1"/>
          </c:dLbls>
          <c:val>
            <c:numRef>
              <c:f>'[Southern Water Corp Economics Case Study MCU Student Facing 220822.xlsx]Economic Cost Analysis'!$D$232:$D$234</c:f>
              <c:numCache>
                <c:formatCode>"$"#,##0.00;[Red]\-"$"#,##0.00\ "$/ML"</c:formatCode>
                <c:ptCount val="3"/>
                <c:pt idx="0">
                  <c:v>115.03706971967463</c:v>
                </c:pt>
                <c:pt idx="1">
                  <c:v>115.03706971967463</c:v>
                </c:pt>
                <c:pt idx="2" formatCode="&quot;$&quot;#,##0.00;[Red]\-&quot;$&quot;#,##0.00">
                  <c:v>115.03706971967463</c:v>
                </c:pt>
              </c:numCache>
            </c:numRef>
          </c:val>
          <c:smooth val="0"/>
          <c:extLst>
            <c:ext xmlns:c16="http://schemas.microsoft.com/office/drawing/2014/chart" uri="{C3380CC4-5D6E-409C-BE32-E72D297353CC}">
              <c16:uniqueId val="{00000001-F9C8-41A1-92F5-069CBD40AF99}"/>
            </c:ext>
          </c:extLst>
        </c:ser>
        <c:dLbls>
          <c:showLegendKey val="0"/>
          <c:showVal val="1"/>
          <c:showCatName val="0"/>
          <c:showSerName val="0"/>
          <c:showPercent val="0"/>
          <c:showBubbleSize val="0"/>
        </c:dLbls>
        <c:marker val="1"/>
        <c:smooth val="0"/>
        <c:axId val="185991568"/>
        <c:axId val="1148023552"/>
      </c:lineChart>
      <c:catAx>
        <c:axId val="1859915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8023552"/>
        <c:crosses val="autoZero"/>
        <c:auto val="1"/>
        <c:lblAlgn val="ctr"/>
        <c:lblOffset val="100"/>
        <c:noMultiLvlLbl val="0"/>
      </c:catAx>
      <c:valAx>
        <c:axId val="114802355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9915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Kootha</a:t>
            </a:r>
            <a:r>
              <a:rPr lang="en-US" baseline="0"/>
              <a:t> Cost to Produce vs Total Volume Water Produc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rgbClr val="002060"/>
              </a:solidFill>
              <a:ln w="9525">
                <a:solidFill>
                  <a:schemeClr val="accent1"/>
                </a:solidFill>
              </a:ln>
              <a:effectLst/>
            </c:spPr>
          </c:marker>
          <c:xVal>
            <c:numRef>
              <c:f>'[Southern Water Corp Economics Case Study MCU Student Facing 220822.xlsx]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Southern Water Corp Economics Case Study MCU Student Facing 220822.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05EC-4F47-92CD-A8F9F5F1CD13}"/>
            </c:ext>
          </c:extLst>
        </c:ser>
        <c:dLbls>
          <c:showLegendKey val="0"/>
          <c:showVal val="0"/>
          <c:showCatName val="0"/>
          <c:showSerName val="0"/>
          <c:showPercent val="0"/>
          <c:showBubbleSize val="0"/>
        </c:dLbls>
        <c:axId val="185978128"/>
        <c:axId val="214213760"/>
      </c:scatterChart>
      <c:valAx>
        <c:axId val="185978128"/>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4213760"/>
        <c:crosses val="autoZero"/>
        <c:crossBetween val="midCat"/>
      </c:valAx>
      <c:valAx>
        <c:axId val="21421376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97812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rjek</a:t>
            </a:r>
            <a:r>
              <a:rPr lang="en-US" baseline="0"/>
              <a:t> Cost to Produce vs Total Volume Water Produc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2">
                  <a:lumMod val="50000"/>
                </a:schemeClr>
              </a:solidFill>
              <a:ln w="9525">
                <a:solidFill>
                  <a:schemeClr val="accent1"/>
                </a:solidFill>
              </a:ln>
              <a:effectLst/>
            </c:spPr>
          </c:marker>
          <c:xVal>
            <c:numRef>
              <c:f>'[Southern Water Corp Economics Case Study MCU Student Facing 220822.xlsx]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Southern Water Corp Economics Case Study MCU Student Facing 220822.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896B-47A7-BC7E-148602799790}"/>
            </c:ext>
          </c:extLst>
        </c:ser>
        <c:dLbls>
          <c:showLegendKey val="0"/>
          <c:showVal val="0"/>
          <c:showCatName val="0"/>
          <c:showSerName val="0"/>
          <c:showPercent val="0"/>
          <c:showBubbleSize val="0"/>
        </c:dLbls>
        <c:axId val="185978128"/>
        <c:axId val="214213760"/>
      </c:scatterChart>
      <c:valAx>
        <c:axId val="185978128"/>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4213760"/>
        <c:crosses val="autoZero"/>
        <c:crossBetween val="midCat"/>
      </c:valAx>
      <c:valAx>
        <c:axId val="21421376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97812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a:t>Jutik Cost to Produce vs Total Volume Water Produc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2">
                  <a:lumMod val="50000"/>
                </a:schemeClr>
              </a:solidFill>
              <a:ln w="9525">
                <a:solidFill>
                  <a:schemeClr val="accent1"/>
                </a:solidFill>
              </a:ln>
              <a:effectLst/>
            </c:spPr>
          </c:marker>
          <c:xVal>
            <c:numRef>
              <c:f>'[Southern Water Corp Economics Case Study MCU Student Facing 220822.xlsx]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Southern Water Corp Economics Case Study MCU Student Facing 220822.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E677-4E81-91BA-A6714AA86E14}"/>
            </c:ext>
          </c:extLst>
        </c:ser>
        <c:dLbls>
          <c:showLegendKey val="0"/>
          <c:showVal val="0"/>
          <c:showCatName val="0"/>
          <c:showSerName val="0"/>
          <c:showPercent val="0"/>
          <c:showBubbleSize val="0"/>
        </c:dLbls>
        <c:axId val="185978128"/>
        <c:axId val="214213760"/>
      </c:scatterChart>
      <c:valAx>
        <c:axId val="185978128"/>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4213760"/>
        <c:crosses val="autoZero"/>
        <c:crossBetween val="midCat"/>
      </c:valAx>
      <c:valAx>
        <c:axId val="21421376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97812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rgbClr val="000000">
                    <a:lumMod val="65000"/>
                    <a:lumOff val="35000"/>
                  </a:srgbClr>
                </a:solidFill>
              </a:rPr>
              <a:t>Weighted Balancing Market Price vs Volume of Water Demanded </a:t>
            </a:r>
            <a:r>
              <a:rPr lang="en-US" sz="1400" b="1" i="0" u="none" strike="noStrike" kern="1200" spc="0" baseline="0">
                <a:solidFill>
                  <a:srgbClr val="000000">
                    <a:lumMod val="65000"/>
                    <a:lumOff val="35000"/>
                  </a:srgbClr>
                </a:solidFill>
              </a:rPr>
              <a:t>(Soft)</a:t>
            </a:r>
          </a:p>
        </c:rich>
      </c:tx>
      <c:layout>
        <c:manualLayout>
          <c:xMode val="edge"/>
          <c:yMode val="edge"/>
          <c:x val="0.11043368026396029"/>
          <c:y val="1.177427145536484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2">
                  <a:lumMod val="50000"/>
                </a:schemeClr>
              </a:solidFill>
              <a:ln w="9525">
                <a:solidFill>
                  <a:schemeClr val="accent1"/>
                </a:solidFill>
              </a:ln>
              <a:effectLst/>
            </c:spPr>
          </c:marker>
          <c:xVal>
            <c:numRef>
              <c:f>'[Southern Water Corp Economics Case Study MCU Student Facing 220822.xlsx]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xVal>
          <c:yVal>
            <c:numRef>
              <c:f>'[Southern Water Corp Economics Case Study MCU Student Facing 220822.xlsx]Economic Market Analysis'!$C$21:$N$21</c:f>
              <c:numCache>
                <c:formatCode>General</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yVal>
          <c:smooth val="0"/>
          <c:extLst>
            <c:ext xmlns:c16="http://schemas.microsoft.com/office/drawing/2014/chart" uri="{C3380CC4-5D6E-409C-BE32-E72D297353CC}">
              <c16:uniqueId val="{00000000-BD2F-4288-A2A4-CE11F2204534}"/>
            </c:ext>
          </c:extLst>
        </c:ser>
        <c:dLbls>
          <c:showLegendKey val="0"/>
          <c:showVal val="0"/>
          <c:showCatName val="0"/>
          <c:showSerName val="0"/>
          <c:showPercent val="0"/>
          <c:showBubbleSize val="0"/>
        </c:dLbls>
        <c:axId val="1224024800"/>
        <c:axId val="1391813295"/>
      </c:scatterChart>
      <c:valAx>
        <c:axId val="122402480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1813295"/>
        <c:crosses val="autoZero"/>
        <c:crossBetween val="midCat"/>
      </c:valAx>
      <c:valAx>
        <c:axId val="139181329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402480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rgbClr val="000000">
                    <a:lumMod val="65000"/>
                    <a:lumOff val="35000"/>
                  </a:srgbClr>
                </a:solidFill>
              </a:rPr>
              <a:t>Weighted Balancing Market Price vs Volume of Water Demanded (</a:t>
            </a:r>
            <a:r>
              <a:rPr lang="en-US" sz="1400" b="1" i="0" u="none" strike="noStrike" kern="1200" spc="0" baseline="0">
                <a:solidFill>
                  <a:srgbClr val="000000">
                    <a:lumMod val="65000"/>
                    <a:lumOff val="35000"/>
                  </a:srgbClr>
                </a:solidFill>
              </a:rPr>
              <a:t>Hard</a:t>
            </a:r>
            <a:r>
              <a:rPr lang="en-US" sz="1400" b="0" i="0" u="none" strike="noStrike" kern="1200" spc="0" baseline="0">
                <a:solidFill>
                  <a:srgbClr val="000000">
                    <a:lumMod val="65000"/>
                    <a:lumOff val="35000"/>
                  </a:srgbClr>
                </a:solidFill>
              </a:rPr>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Hard</c:v>
          </c:tx>
          <c:spPr>
            <a:ln w="25400" cap="rnd">
              <a:noFill/>
              <a:round/>
            </a:ln>
            <a:effectLst/>
          </c:spPr>
          <c:marker>
            <c:symbol val="circle"/>
            <c:size val="5"/>
            <c:spPr>
              <a:solidFill>
                <a:schemeClr val="accent2">
                  <a:lumMod val="50000"/>
                </a:schemeClr>
              </a:solidFill>
              <a:ln w="9525">
                <a:solidFill>
                  <a:schemeClr val="accent1"/>
                </a:solidFill>
              </a:ln>
              <a:effectLst/>
            </c:spPr>
          </c:marker>
          <c:xVal>
            <c:numRef>
              <c:f>'[Southern Water Corp Economics Case Study MCU Student Facing 220822.xlsx]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xVal>
          <c:yVal>
            <c:numRef>
              <c:f>'[Southern Water Corp Economics Case Study MCU Student Facing 220822.xlsx]Economic Market Analysis'!$C$18:$N$18</c:f>
              <c:numCache>
                <c:formatCode>General</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yVal>
          <c:smooth val="0"/>
          <c:extLst>
            <c:ext xmlns:c16="http://schemas.microsoft.com/office/drawing/2014/chart" uri="{C3380CC4-5D6E-409C-BE32-E72D297353CC}">
              <c16:uniqueId val="{00000000-6625-49EB-9B2C-DD449F28DAA9}"/>
            </c:ext>
          </c:extLst>
        </c:ser>
        <c:dLbls>
          <c:showLegendKey val="0"/>
          <c:showVal val="0"/>
          <c:showCatName val="0"/>
          <c:showSerName val="0"/>
          <c:showPercent val="0"/>
          <c:showBubbleSize val="0"/>
        </c:dLbls>
        <c:axId val="1602751712"/>
        <c:axId val="1597897104"/>
      </c:scatterChart>
      <c:valAx>
        <c:axId val="160275171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7897104"/>
        <c:crosses val="autoZero"/>
        <c:crossBetween val="midCat"/>
      </c:valAx>
      <c:valAx>
        <c:axId val="1597897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27517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0/03/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 reduction in Surjek’s Revenues ($44 M) due to the Maintenance Outage, Quarter 4 presents the best balance of revenue-loss mitigation with respect to market pricing, as opposed to Quarter 1 which represents the highest demand (2,277 GL) and Water Balancing Market Prices ($84.91).</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D89FB0AC-091B-B1F2-134F-B7C52B747269}"/>
              </a:ext>
            </a:extLst>
          </p:cNvPr>
          <p:cNvGraphicFramePr>
            <a:graphicFrameLocks/>
          </p:cNvGraphicFramePr>
          <p:nvPr>
            <p:extLst>
              <p:ext uri="{D42A27DB-BD31-4B8C-83A1-F6EECF244321}">
                <p14:modId xmlns:p14="http://schemas.microsoft.com/office/powerpoint/2010/main" val="410773187"/>
              </p:ext>
            </p:extLst>
          </p:nvPr>
        </p:nvGraphicFramePr>
        <p:xfrm>
          <a:off x="5190585" y="1050254"/>
          <a:ext cx="3467640" cy="557814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6CED6311-46AF-7DA2-2BC1-8AC28A361CF0}"/>
              </a:ext>
            </a:extLst>
          </p:cNvPr>
          <p:cNvGraphicFramePr>
            <a:graphicFrameLocks/>
          </p:cNvGraphicFramePr>
          <p:nvPr>
            <p:extLst>
              <p:ext uri="{D42A27DB-BD31-4B8C-83A1-F6EECF244321}">
                <p14:modId xmlns:p14="http://schemas.microsoft.com/office/powerpoint/2010/main" val="595319447"/>
              </p:ext>
            </p:extLst>
          </p:nvPr>
        </p:nvGraphicFramePr>
        <p:xfrm>
          <a:off x="585217" y="1050253"/>
          <a:ext cx="4047744" cy="49603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2.61/ML) and lastly </a:t>
            </a:r>
            <a:r>
              <a:rPr lang="en-GB" sz="1200" b="1" dirty="0" err="1"/>
              <a:t>Surjek</a:t>
            </a:r>
            <a:r>
              <a:rPr lang="en-GB" sz="1200" b="1" dirty="0"/>
              <a:t> ($54.23/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ED1EED45-051E-5215-55A6-29234CC68588}"/>
              </a:ext>
            </a:extLst>
          </p:cNvPr>
          <p:cNvGraphicFramePr>
            <a:graphicFrameLocks/>
          </p:cNvGraphicFramePr>
          <p:nvPr>
            <p:extLst>
              <p:ext uri="{D42A27DB-BD31-4B8C-83A1-F6EECF244321}">
                <p14:modId xmlns:p14="http://schemas.microsoft.com/office/powerpoint/2010/main" val="2402384484"/>
              </p:ext>
            </p:extLst>
          </p:nvPr>
        </p:nvGraphicFramePr>
        <p:xfrm>
          <a:off x="4396654" y="1050254"/>
          <a:ext cx="4512396" cy="53261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B03C61CC-7EE1-4A49-8C56-C77D0D3E7D44}"/>
              </a:ext>
            </a:extLst>
          </p:cNvPr>
          <p:cNvGraphicFramePr>
            <a:graphicFrameLocks/>
          </p:cNvGraphicFramePr>
          <p:nvPr>
            <p:extLst>
              <p:ext uri="{D42A27DB-BD31-4B8C-83A1-F6EECF244321}">
                <p14:modId xmlns:p14="http://schemas.microsoft.com/office/powerpoint/2010/main" val="3171762065"/>
              </p:ext>
            </p:extLst>
          </p:nvPr>
        </p:nvGraphicFramePr>
        <p:xfrm>
          <a:off x="171451" y="1285124"/>
          <a:ext cx="3998213" cy="48564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c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A8793CCD-0E32-B4AA-EB51-DB956D4502E6}"/>
              </a:ext>
            </a:extLst>
          </p:cNvPr>
          <p:cNvGraphicFramePr>
            <a:graphicFrameLocks/>
          </p:cNvGraphicFramePr>
          <p:nvPr>
            <p:extLst>
              <p:ext uri="{D42A27DB-BD31-4B8C-83A1-F6EECF244321}">
                <p14:modId xmlns:p14="http://schemas.microsoft.com/office/powerpoint/2010/main" val="1204558578"/>
              </p:ext>
            </p:extLst>
          </p:nvPr>
        </p:nvGraphicFramePr>
        <p:xfrm>
          <a:off x="171451" y="2022410"/>
          <a:ext cx="2846069" cy="29062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EF42DBEA-6FA6-4C85-B562-DBB261E37D54}"/>
              </a:ext>
            </a:extLst>
          </p:cNvPr>
          <p:cNvGraphicFramePr>
            <a:graphicFrameLocks/>
          </p:cNvGraphicFramePr>
          <p:nvPr>
            <p:extLst>
              <p:ext uri="{D42A27DB-BD31-4B8C-83A1-F6EECF244321}">
                <p14:modId xmlns:p14="http://schemas.microsoft.com/office/powerpoint/2010/main" val="2732205931"/>
              </p:ext>
            </p:extLst>
          </p:nvPr>
        </p:nvGraphicFramePr>
        <p:xfrm>
          <a:off x="3228024" y="2021455"/>
          <a:ext cx="2949434" cy="29062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82047787-DA9C-4F94-B703-82844FC5EB0B}"/>
              </a:ext>
            </a:extLst>
          </p:cNvPr>
          <p:cNvGraphicFramePr>
            <a:graphicFrameLocks/>
          </p:cNvGraphicFramePr>
          <p:nvPr>
            <p:extLst>
              <p:ext uri="{D42A27DB-BD31-4B8C-83A1-F6EECF244321}">
                <p14:modId xmlns:p14="http://schemas.microsoft.com/office/powerpoint/2010/main" val="2450671350"/>
              </p:ext>
            </p:extLst>
          </p:nvPr>
        </p:nvGraphicFramePr>
        <p:xfrm>
          <a:off x="6177458" y="2021455"/>
          <a:ext cx="2731592" cy="29062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Soft Water tends to be relatively price inelastic with an average </a:t>
            </a:r>
            <a:r>
              <a:rPr lang="en-GB" sz="1400" b="1" dirty="0" err="1"/>
              <a:t>EoD</a:t>
            </a:r>
            <a:r>
              <a:rPr lang="en-GB" sz="1400" b="1" dirty="0"/>
              <a:t> of 0.92 whilst Hard Water is more representative of an elastic relationship with an average </a:t>
            </a:r>
            <a:r>
              <a:rPr lang="en-GB" sz="1400" b="1" dirty="0" err="1"/>
              <a:t>EoD</a:t>
            </a:r>
            <a:r>
              <a:rPr lang="en-GB" sz="1400" b="1" dirty="0"/>
              <a:t> of 41.49.</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7793EC2A-0FD7-4A4C-9592-4FFBC33F0A65}"/>
              </a:ext>
            </a:extLst>
          </p:cNvPr>
          <p:cNvGraphicFramePr>
            <a:graphicFrameLocks/>
          </p:cNvGraphicFramePr>
          <p:nvPr>
            <p:extLst>
              <p:ext uri="{D42A27DB-BD31-4B8C-83A1-F6EECF244321}">
                <p14:modId xmlns:p14="http://schemas.microsoft.com/office/powerpoint/2010/main" val="4134080119"/>
              </p:ext>
            </p:extLst>
          </p:nvPr>
        </p:nvGraphicFramePr>
        <p:xfrm>
          <a:off x="205816" y="2085933"/>
          <a:ext cx="2748292" cy="32358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3378CF51-9E7B-4C6F-9015-10BFF6B42C7C}"/>
              </a:ext>
            </a:extLst>
          </p:cNvPr>
          <p:cNvGraphicFramePr>
            <a:graphicFrameLocks/>
          </p:cNvGraphicFramePr>
          <p:nvPr>
            <p:extLst>
              <p:ext uri="{D42A27DB-BD31-4B8C-83A1-F6EECF244321}">
                <p14:modId xmlns:p14="http://schemas.microsoft.com/office/powerpoint/2010/main" val="1151034527"/>
              </p:ext>
            </p:extLst>
          </p:nvPr>
        </p:nvGraphicFramePr>
        <p:xfrm>
          <a:off x="3106573" y="2085933"/>
          <a:ext cx="2748292" cy="32358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4D1A2507-1D94-4ECB-9DCF-F1D3AC6F5555}"/>
              </a:ext>
            </a:extLst>
          </p:cNvPr>
          <p:cNvGraphicFramePr>
            <a:graphicFrameLocks/>
          </p:cNvGraphicFramePr>
          <p:nvPr>
            <p:extLst>
              <p:ext uri="{D42A27DB-BD31-4B8C-83A1-F6EECF244321}">
                <p14:modId xmlns:p14="http://schemas.microsoft.com/office/powerpoint/2010/main" val="976138925"/>
              </p:ext>
            </p:extLst>
          </p:nvPr>
        </p:nvGraphicFramePr>
        <p:xfrm>
          <a:off x="6007330" y="1892808"/>
          <a:ext cx="2748292" cy="342899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70</TotalTime>
  <Words>302</Words>
  <Application>Microsoft Office PowerPoint</Application>
  <PresentationFormat>Custom</PresentationFormat>
  <Paragraphs>14</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 estimated 22% reduction in Surjek’s Revenues ($44 M) due to the Maintenance Outage, Quarter 4 presents the best balance of revenue-loss mitigation with respect to market pricing, as opposed to Quarter 1 which represents the highest demand (2,277 GL) and Water Balancing Market Prices ($84.91).</vt:lpstr>
      <vt:lpstr>Of the three Desalination Plants, all three remain profitable at current market prices by a favourable margin; Clearly Kootha is the most cost-effective $25/ML) followed by Jutik ($32.61/ML) and lastly Surjek ($54.23/ML) which is consistent across the July-2013 to June-2014 period. </vt:lpstr>
      <vt:lpstr>Contrasting the Cost to Produce against the Volume of Water Produced highlights clear economic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inelastic with an average EoD of 0.92 whilst Hard Water is more representative of an elastic relationship with an average EoD of 41.4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Gabriela Fernandez</cp:lastModifiedBy>
  <cp:revision>70</cp:revision>
  <dcterms:created xsi:type="dcterms:W3CDTF">2020-04-12T13:23:13Z</dcterms:created>
  <dcterms:modified xsi:type="dcterms:W3CDTF">2024-03-11T03:04:03Z</dcterms:modified>
</cp:coreProperties>
</file>